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BEB"/>
    <a:srgbClr val="BC0000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71" autoAdjust="0"/>
    <p:restoredTop sz="93834" autoAdjust="0"/>
  </p:normalViewPr>
  <p:slideViewPr>
    <p:cSldViewPr snapToGrid="0" snapToObjects="1">
      <p:cViewPr varScale="1">
        <p:scale>
          <a:sx n="65" d="100"/>
          <a:sy n="65" d="100"/>
        </p:scale>
        <p:origin x="5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Ge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2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5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>
              <a:alpha val="71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CFBF517-DEBC-42FD-AD7F-436DBC56BBB6}"/>
              </a:ext>
            </a:extLst>
          </p:cNvPr>
          <p:cNvSpPr/>
          <p:nvPr/>
        </p:nvSpPr>
        <p:spPr>
          <a:xfrm>
            <a:off x="6005358" y="1135290"/>
            <a:ext cx="5872899" cy="47445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3">
            <a:extLst>
              <a:ext uri="{FF2B5EF4-FFF2-40B4-BE49-F238E27FC236}">
                <a16:creationId xmlns:a16="http://schemas.microsoft.com/office/drawing/2014/main" id="{3DDF2FED-4C2E-4AE6-9A64-C3BE9B48BCB7}"/>
              </a:ext>
            </a:extLst>
          </p:cNvPr>
          <p:cNvSpPr txBox="1">
            <a:spLocks/>
          </p:cNvSpPr>
          <p:nvPr/>
        </p:nvSpPr>
        <p:spPr>
          <a:xfrm>
            <a:off x="1063590" y="348621"/>
            <a:ext cx="10845800" cy="129939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pc="300" dirty="0">
                <a:solidFill>
                  <a:schemeClr val="accent2"/>
                </a:solidFill>
              </a:rPr>
              <a:t>YOUR NEXT INVESTMENT</a:t>
            </a:r>
            <a:br>
              <a:rPr lang="en-US" altLang="zh-CN" sz="4800" u="sng" dirty="0">
                <a:solidFill>
                  <a:srgbClr val="48B8A3"/>
                </a:solidFill>
              </a:rPr>
            </a:br>
            <a:r>
              <a:rPr lang="en-CA" altLang="zh-CN" sz="3200" dirty="0">
                <a:solidFill>
                  <a:srgbClr val="E61134"/>
                </a:solidFill>
              </a:rPr>
              <a:t>Why Not Tesla</a:t>
            </a:r>
            <a:r>
              <a:rPr lang="zh-TW" altLang="en-US" sz="3200" dirty="0">
                <a:solidFill>
                  <a:srgbClr val="E61134"/>
                </a:solidFill>
              </a:rPr>
              <a:t> </a:t>
            </a:r>
            <a:r>
              <a:rPr lang="en-CA" altLang="zh-CN" sz="3200" dirty="0">
                <a:solidFill>
                  <a:srgbClr val="E61134"/>
                </a:solidFill>
              </a:rPr>
              <a:t>?</a:t>
            </a:r>
            <a:endParaRPr lang="zh-CN" altLang="en-US" sz="3200" dirty="0">
              <a:solidFill>
                <a:srgbClr val="E61134"/>
              </a:solidFill>
            </a:endParaRP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12225" y="5955209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>
                <a:latin typeface="+mj-lt"/>
              </a:rPr>
              <a:t>2020.11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79405" y="6172455"/>
            <a:ext cx="9429985" cy="62426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i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i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i="1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 err="1">
                <a:solidFill>
                  <a:schemeClr val="tx1"/>
                </a:solidFill>
              </a:rPr>
              <a:t>Hsuan</a:t>
            </a:r>
            <a:r>
              <a:rPr lang="en-CA" sz="1800" b="0" i="1" dirty="0">
                <a:solidFill>
                  <a:schemeClr val="tx1"/>
                </a:solidFill>
              </a:rPr>
              <a:t> Liu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CapitalIQ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Geel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-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6DBBF1C-BFA5-4E78-9F4D-735D89E63888}"/>
              </a:ext>
            </a:extLst>
          </p:cNvPr>
          <p:cNvSpPr txBox="1"/>
          <p:nvPr/>
        </p:nvSpPr>
        <p:spPr>
          <a:xfrm>
            <a:off x="5153025" y="4025595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>
                <a:solidFill>
                  <a:srgbClr val="0070C0"/>
                </a:solidFill>
              </a:rPr>
              <a:t>X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2068C83-8B0E-4C2F-BDA8-F97839995843}"/>
              </a:ext>
            </a:extLst>
          </p:cNvPr>
          <p:cNvSpPr txBox="1"/>
          <p:nvPr/>
        </p:nvSpPr>
        <p:spPr>
          <a:xfrm>
            <a:off x="5307331" y="4005361"/>
            <a:ext cx="243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0070C0"/>
                </a:solidFill>
              </a:rPr>
              <a:t>Industry Median</a:t>
            </a:r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Next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822570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3431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ssential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o re-evaluate financial health evert 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796579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21559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, Capex</a:t>
            </a:r>
          </a:p>
          <a:p>
            <a:pPr lvl="0">
              <a:lnSpc>
                <a:spcPct val="140000"/>
              </a:lnSpc>
              <a:defRPr/>
            </a:pPr>
            <a:r>
              <a:rPr lang="en-US" altLang="zh-CN" sz="2000" dirty="0">
                <a:latin typeface="+mj-lt"/>
                <a:ea typeface="+mj-ea"/>
                <a:cs typeface="+mn-ea"/>
                <a:sym typeface="+mn-lt"/>
              </a:rPr>
              <a:t>V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87908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80191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412F813B-F97E-4F01-BB52-04AA8669BF22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076893"/>
            <a:chExt cx="11632939" cy="5666174"/>
          </a:xfrm>
        </p:grpSpPr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500509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500509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5" name="群組 4">
              <a:extLst>
                <a:ext uri="{FF2B5EF4-FFF2-40B4-BE49-F238E27FC236}">
                  <a16:creationId xmlns:a16="http://schemas.microsoft.com/office/drawing/2014/main" id="{78A18370-8DB5-4DE5-A824-EF0F132D7444}"/>
                </a:ext>
              </a:extLst>
            </p:cNvPr>
            <p:cNvGrpSpPr/>
            <p:nvPr/>
          </p:nvGrpSpPr>
          <p:grpSpPr>
            <a:xfrm>
              <a:off x="308648" y="1076893"/>
              <a:ext cx="11632939" cy="4706230"/>
              <a:chOff x="308648" y="1076893"/>
              <a:chExt cx="11632939" cy="4706230"/>
            </a:xfrm>
          </p:grpSpPr>
          <p:pic>
            <p:nvPicPr>
              <p:cNvPr id="60" name="圖形 59" descr="研究">
                <a:extLst>
                  <a:ext uri="{FF2B5EF4-FFF2-40B4-BE49-F238E27FC236}">
                    <a16:creationId xmlns:a16="http://schemas.microsoft.com/office/drawing/2014/main" id="{FF4CB7FD-92EB-44A5-B093-E4E43CE98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172193" y="5063123"/>
                <a:ext cx="720000" cy="720000"/>
              </a:xfrm>
              <a:prstGeom prst="rect">
                <a:avLst/>
              </a:prstGeom>
            </p:spPr>
          </p:pic>
          <p:grpSp>
            <p:nvGrpSpPr>
              <p:cNvPr id="81" name="群組 80">
                <a:extLst>
                  <a:ext uri="{FF2B5EF4-FFF2-40B4-BE49-F238E27FC236}">
                    <a16:creationId xmlns:a16="http://schemas.microsoft.com/office/drawing/2014/main" id="{A232BD5A-CADF-46FF-85CC-70BEE557CAAE}"/>
                  </a:ext>
                </a:extLst>
              </p:cNvPr>
              <p:cNvGrpSpPr/>
              <p:nvPr/>
            </p:nvGrpSpPr>
            <p:grpSpPr>
              <a:xfrm>
                <a:off x="308648" y="1076893"/>
                <a:ext cx="11632939" cy="3045104"/>
                <a:chOff x="516909" y="1474222"/>
                <a:chExt cx="11632939" cy="3045104"/>
              </a:xfrm>
            </p:grpSpPr>
            <p:sp>
              <p:nvSpPr>
                <p:cNvPr id="142" name="矩形 141"/>
                <p:cNvSpPr/>
                <p:nvPr/>
              </p:nvSpPr>
              <p:spPr>
                <a:xfrm>
                  <a:off x="2869487" y="3187254"/>
                  <a:ext cx="7272188" cy="128394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  <p:grpSp>
              <p:nvGrpSpPr>
                <p:cNvPr id="31" name="群組 30">
                  <a:extLst>
                    <a:ext uri="{FF2B5EF4-FFF2-40B4-BE49-F238E27FC236}">
                      <a16:creationId xmlns:a16="http://schemas.microsoft.com/office/drawing/2014/main" id="{CFF23AA1-F746-47A8-94F3-059A7AD4FDB8}"/>
                    </a:ext>
                  </a:extLst>
                </p:cNvPr>
                <p:cNvGrpSpPr/>
                <p:nvPr/>
              </p:nvGrpSpPr>
              <p:grpSpPr>
                <a:xfrm>
                  <a:off x="516909" y="2605460"/>
                  <a:ext cx="970132" cy="1052257"/>
                  <a:chOff x="965121" y="2605460"/>
                  <a:chExt cx="970132" cy="1052257"/>
                </a:xfrm>
              </p:grpSpPr>
              <p:sp>
                <p:nvSpPr>
                  <p:cNvPr id="91" name="Shape 300"/>
                  <p:cNvSpPr/>
                  <p:nvPr/>
                </p:nvSpPr>
                <p:spPr>
                  <a:xfrm>
                    <a:off x="1145519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sp>
                <p:nvSpPr>
                  <p:cNvPr id="94" name="文本框 93"/>
                  <p:cNvSpPr txBox="1"/>
                  <p:nvPr/>
                </p:nvSpPr>
                <p:spPr>
                  <a:xfrm>
                    <a:off x="965121" y="3377769"/>
                    <a:ext cx="970132" cy="27994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Raw Data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pic>
                <p:nvPicPr>
                  <p:cNvPr id="8" name="圖形 7" descr="桌子">
                    <a:extLst>
                      <a:ext uri="{FF2B5EF4-FFF2-40B4-BE49-F238E27FC236}">
                        <a16:creationId xmlns:a16="http://schemas.microsoft.com/office/drawing/2014/main" id="{B544B0E6-9D84-4435-9016-B46341DEA3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16402" y="2686146"/>
                    <a:ext cx="467426" cy="467426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5" name="箭头: 右 94"/>
                <p:cNvSpPr/>
                <p:nvPr/>
              </p:nvSpPr>
              <p:spPr>
                <a:xfrm>
                  <a:off x="1558396" y="2850842"/>
                  <a:ext cx="9792000" cy="271741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5000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  <a:alpha val="69000"/>
                      </a:schemeClr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ea"/>
                    <a:sym typeface="+mn-lt"/>
                  </a:endParaRPr>
                </a:p>
              </p:txBody>
            </p:sp>
            <p:grpSp>
              <p:nvGrpSpPr>
                <p:cNvPr id="52" name="群組 51">
                  <a:extLst>
                    <a:ext uri="{FF2B5EF4-FFF2-40B4-BE49-F238E27FC236}">
                      <a16:creationId xmlns:a16="http://schemas.microsoft.com/office/drawing/2014/main" id="{2A7B5024-DFC5-4CF0-ADA1-7F1273409442}"/>
                    </a:ext>
                  </a:extLst>
                </p:cNvPr>
                <p:cNvGrpSpPr/>
                <p:nvPr/>
              </p:nvGrpSpPr>
              <p:grpSpPr>
                <a:xfrm>
                  <a:off x="1582009" y="1950102"/>
                  <a:ext cx="1127862" cy="1897055"/>
                  <a:chOff x="1910385" y="1950102"/>
                  <a:chExt cx="1127862" cy="1897055"/>
                </a:xfrm>
              </p:grpSpPr>
              <p:sp>
                <p:nvSpPr>
                  <p:cNvPr id="155" name="object 61"/>
                  <p:cNvSpPr/>
                  <p:nvPr/>
                </p:nvSpPr>
                <p:spPr>
                  <a:xfrm>
                    <a:off x="1922247" y="1950102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</a:pPr>
                    <a:r>
                      <a:rPr lang="en-CA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 CSV</a:t>
                    </a:r>
                    <a:endParaRPr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  <p:sp>
                <p:nvSpPr>
                  <p:cNvPr id="157" name="object 61"/>
                  <p:cNvSpPr/>
                  <p:nvPr/>
                </p:nvSpPr>
                <p:spPr>
                  <a:xfrm>
                    <a:off x="1910385" y="3496685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/>
                    <a:r>
                      <a:rPr lang="en-CA" altLang="zh-CN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out CSV</a:t>
                    </a:r>
                    <a:endParaRPr lang="zh-CN" altLang="en-US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</p:grpSp>
            <p:grpSp>
              <p:nvGrpSpPr>
                <p:cNvPr id="29" name="群組 28">
                  <a:extLst>
                    <a:ext uri="{FF2B5EF4-FFF2-40B4-BE49-F238E27FC236}">
                      <a16:creationId xmlns:a16="http://schemas.microsoft.com/office/drawing/2014/main" id="{ECC4F13B-B4A0-4429-9BD7-B855B5EFD7D6}"/>
                    </a:ext>
                  </a:extLst>
                </p:cNvPr>
                <p:cNvGrpSpPr/>
                <p:nvPr/>
              </p:nvGrpSpPr>
              <p:grpSpPr>
                <a:xfrm>
                  <a:off x="2865747" y="1474222"/>
                  <a:ext cx="7268448" cy="1352316"/>
                  <a:chOff x="3194123" y="1474222"/>
                  <a:chExt cx="7268448" cy="1352316"/>
                </a:xfrm>
              </p:grpSpPr>
              <p:grpSp>
                <p:nvGrpSpPr>
                  <p:cNvPr id="26" name="群組 25">
                    <a:extLst>
                      <a:ext uri="{FF2B5EF4-FFF2-40B4-BE49-F238E27FC236}">
                        <a16:creationId xmlns:a16="http://schemas.microsoft.com/office/drawing/2014/main" id="{483B62FA-D71A-4F9F-BD7F-F4DEE6D6E6C9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6818887" cy="1269819"/>
                    <a:chOff x="3445594" y="1556719"/>
                    <a:chExt cx="6818887" cy="1269819"/>
                  </a:xfrm>
                </p:grpSpPr>
                <p:grpSp>
                  <p:nvGrpSpPr>
                    <p:cNvPr id="25" name="群組 24">
                      <a:extLst>
                        <a:ext uri="{FF2B5EF4-FFF2-40B4-BE49-F238E27FC236}">
                          <a16:creationId xmlns:a16="http://schemas.microsoft.com/office/drawing/2014/main" id="{DA28AC00-FF53-4302-939B-0A176A3A24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1556719"/>
                      <a:ext cx="2121131" cy="516295"/>
                      <a:chOff x="3445594" y="1556719"/>
                      <a:chExt cx="2121131" cy="516295"/>
                    </a:xfrm>
                  </p:grpSpPr>
                  <p:sp>
                    <p:nvSpPr>
                      <p:cNvPr id="98" name="Shape 300"/>
                      <p:cNvSpPr/>
                      <p:nvPr/>
                    </p:nvSpPr>
                    <p:spPr>
                      <a:xfrm>
                        <a:off x="3445594" y="15567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00" name="文本框 99"/>
                      <p:cNvSpPr txBox="1"/>
                      <p:nvPr/>
                    </p:nvSpPr>
                    <p:spPr>
                      <a:xfrm>
                        <a:off x="3985742" y="160519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Library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grpSp>
                    <p:nvGrpSpPr>
                      <p:cNvPr id="21" name="组合 20"/>
                      <p:cNvGrpSpPr/>
                      <p:nvPr/>
                    </p:nvGrpSpPr>
                    <p:grpSpPr>
                      <a:xfrm>
                        <a:off x="5173624" y="1674753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9" name="箭头: V 形 18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4" name="箭头: V 形 133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3" name="群組 22">
                      <a:extLst>
                        <a:ext uri="{FF2B5EF4-FFF2-40B4-BE49-F238E27FC236}">
                          <a16:creationId xmlns:a16="http://schemas.microsoft.com/office/drawing/2014/main" id="{8574C394-B849-4EAA-BE52-41D231FB37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1560326"/>
                      <a:ext cx="2141601" cy="512688"/>
                      <a:chOff x="3441055" y="2178122"/>
                      <a:chExt cx="2141601" cy="512688"/>
                    </a:xfrm>
                  </p:grpSpPr>
                  <p:sp>
                    <p:nvSpPr>
                      <p:cNvPr id="101" name="文本框 100"/>
                      <p:cNvSpPr txBox="1"/>
                      <p:nvPr/>
                    </p:nvSpPr>
                    <p:spPr>
                      <a:xfrm>
                        <a:off x="3956242" y="2222990"/>
                        <a:ext cx="1161879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Drop Nulls, Comm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29" name="Shape 300"/>
                      <p:cNvSpPr/>
                      <p:nvPr/>
                    </p:nvSpPr>
                    <p:spPr>
                      <a:xfrm>
                        <a:off x="3441055" y="2178122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grpSp>
                    <p:nvGrpSpPr>
                      <p:cNvPr id="135" name="组合 134"/>
                      <p:cNvGrpSpPr/>
                      <p:nvPr/>
                    </p:nvGrpSpPr>
                    <p:grpSpPr>
                      <a:xfrm>
                        <a:off x="5189555" y="2337734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37" name="箭头: V 形 136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8" name="箭头: V 形 137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0" name="群組 19">
                      <a:extLst>
                        <a:ext uri="{FF2B5EF4-FFF2-40B4-BE49-F238E27FC236}">
                          <a16:creationId xmlns:a16="http://schemas.microsoft.com/office/drawing/2014/main" id="{DBFF0233-31C9-4A5E-803F-3172A6DF07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1573329"/>
                      <a:ext cx="2121131" cy="499685"/>
                      <a:chOff x="3597994" y="1709119"/>
                      <a:chExt cx="2121131" cy="499685"/>
                    </a:xfrm>
                  </p:grpSpPr>
                  <p:sp>
                    <p:nvSpPr>
                      <p:cNvPr id="15" name="Shape 300">
                        <a:extLst>
                          <a:ext uri="{FF2B5EF4-FFF2-40B4-BE49-F238E27FC236}">
                            <a16:creationId xmlns:a16="http://schemas.microsoft.com/office/drawing/2014/main" id="{561E9096-7DCC-481D-9B1E-4FD4EF6DD3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6" name="文本框 99">
                        <a:extLst>
                          <a:ext uri="{FF2B5EF4-FFF2-40B4-BE49-F238E27FC236}">
                            <a16:creationId xmlns:a16="http://schemas.microsoft.com/office/drawing/2014/main" id="{69695211-CE2A-4AC8-9158-FA05C90886C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7233" y="174098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Dat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7" name="箭头: V 形 18">
                        <a:extLst>
                          <a:ext uri="{FF2B5EF4-FFF2-40B4-BE49-F238E27FC236}">
                            <a16:creationId xmlns:a16="http://schemas.microsoft.com/office/drawing/2014/main" id="{23EA8ECB-57AA-4CCB-8872-E09B773C12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8" name="箭头: V 形 133">
                        <a:extLst>
                          <a:ext uri="{FF2B5EF4-FFF2-40B4-BE49-F238E27FC236}">
                            <a16:creationId xmlns:a16="http://schemas.microsoft.com/office/drawing/2014/main" id="{8882243F-7AF7-445C-9348-A044963F17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21" name="群組 120">
                      <a:extLst>
                        <a:ext uri="{FF2B5EF4-FFF2-40B4-BE49-F238E27FC236}">
                          <a16:creationId xmlns:a16="http://schemas.microsoft.com/office/drawing/2014/main" id="{298DFAD6-4E2A-432D-9089-AD59206D5A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2207116"/>
                      <a:ext cx="2121131" cy="474837"/>
                      <a:chOff x="3597994" y="1709119"/>
                      <a:chExt cx="2121131" cy="474837"/>
                    </a:xfrm>
                  </p:grpSpPr>
                  <p:sp>
                    <p:nvSpPr>
                      <p:cNvPr id="123" name="Shape 300">
                        <a:extLst>
                          <a:ext uri="{FF2B5EF4-FFF2-40B4-BE49-F238E27FC236}">
                            <a16:creationId xmlns:a16="http://schemas.microsoft.com/office/drawing/2014/main" id="{3603E8E5-0F97-49D7-93B8-4EE801F896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27" name="文本框 99">
                        <a:extLst>
                          <a:ext uri="{FF2B5EF4-FFF2-40B4-BE49-F238E27FC236}">
                            <a16:creationId xmlns:a16="http://schemas.microsoft.com/office/drawing/2014/main" id="{1C09F295-9F19-4921-9B11-D84EDB2BA71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38142" y="1815742"/>
                        <a:ext cx="970132" cy="2800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US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Slice Data</a:t>
                        </a:r>
                      </a:p>
                    </p:txBody>
                  </p:sp>
                  <p:sp>
                    <p:nvSpPr>
                      <p:cNvPr id="130" name="箭头: V 形 18">
                        <a:extLst>
                          <a:ext uri="{FF2B5EF4-FFF2-40B4-BE49-F238E27FC236}">
                            <a16:creationId xmlns:a16="http://schemas.microsoft.com/office/drawing/2014/main" id="{5CDE0A48-DA31-4793-8F9E-6506CD58B1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1" name="箭头: V 形 133">
                        <a:extLst>
                          <a:ext uri="{FF2B5EF4-FFF2-40B4-BE49-F238E27FC236}">
                            <a16:creationId xmlns:a16="http://schemas.microsoft.com/office/drawing/2014/main" id="{7001D5D1-A059-4F9B-913F-8E63AA58F4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32" name="群組 131">
                      <a:extLst>
                        <a:ext uri="{FF2B5EF4-FFF2-40B4-BE49-F238E27FC236}">
                          <a16:creationId xmlns:a16="http://schemas.microsoft.com/office/drawing/2014/main" id="{19475940-D3C6-4653-A065-1CDB73160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2170974"/>
                      <a:ext cx="2146876" cy="655564"/>
                      <a:chOff x="3572249" y="1668559"/>
                      <a:chExt cx="2146876" cy="655564"/>
                    </a:xfrm>
                  </p:grpSpPr>
                  <p:sp>
                    <p:nvSpPr>
                      <p:cNvPr id="133" name="Shape 300">
                        <a:extLst>
                          <a:ext uri="{FF2B5EF4-FFF2-40B4-BE49-F238E27FC236}">
                            <a16:creationId xmlns:a16="http://schemas.microsoft.com/office/drawing/2014/main" id="{D4CF4B6A-5EC2-4BE4-9941-6BAD2ED754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2249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36" name="文本框 99">
                        <a:extLst>
                          <a:ext uri="{FF2B5EF4-FFF2-40B4-BE49-F238E27FC236}">
                            <a16:creationId xmlns:a16="http://schemas.microsoft.com/office/drawing/2014/main" id="{A7EE773C-FEA9-4B0F-BDDC-ACBC4ED5968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25269" y="1668559"/>
                        <a:ext cx="1122571" cy="65556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Rename Columns/ Index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0" name="箭头: V 形 18">
                        <a:extLst>
                          <a:ext uri="{FF2B5EF4-FFF2-40B4-BE49-F238E27FC236}">
                            <a16:creationId xmlns:a16="http://schemas.microsoft.com/office/drawing/2014/main" id="{6FF076B6-A4AD-4F1E-8C4D-23672CAB1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3" name="箭头: V 形 133">
                        <a:extLst>
                          <a:ext uri="{FF2B5EF4-FFF2-40B4-BE49-F238E27FC236}">
                            <a16:creationId xmlns:a16="http://schemas.microsoft.com/office/drawing/2014/main" id="{2F9D7C2D-3B5A-4EBD-B32D-B30DDA4924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44" name="群組 143">
                      <a:extLst>
                        <a:ext uri="{FF2B5EF4-FFF2-40B4-BE49-F238E27FC236}">
                          <a16:creationId xmlns:a16="http://schemas.microsoft.com/office/drawing/2014/main" id="{CE907F3F-8394-415F-8256-2EE5F8337A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2222573"/>
                      <a:ext cx="2141601" cy="481259"/>
                      <a:chOff x="3577524" y="1709119"/>
                      <a:chExt cx="2141601" cy="481259"/>
                    </a:xfrm>
                  </p:grpSpPr>
                  <p:sp>
                    <p:nvSpPr>
                      <p:cNvPr id="145" name="Shape 300">
                        <a:extLst>
                          <a:ext uri="{FF2B5EF4-FFF2-40B4-BE49-F238E27FC236}">
                            <a16:creationId xmlns:a16="http://schemas.microsoft.com/office/drawing/2014/main" id="{549196D6-43BB-4B3F-BD9E-83942BFCB0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752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46" name="文本框 99">
                        <a:extLst>
                          <a:ext uri="{FF2B5EF4-FFF2-40B4-BE49-F238E27FC236}">
                            <a16:creationId xmlns:a16="http://schemas.microsoft.com/office/drawing/2014/main" id="{AB590472-90B5-49CE-B789-B4A6AE3D2D5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88584" y="1722558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Covert to Float 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7" name="箭头: V 形 18">
                        <a:extLst>
                          <a:ext uri="{FF2B5EF4-FFF2-40B4-BE49-F238E27FC236}">
                            <a16:creationId xmlns:a16="http://schemas.microsoft.com/office/drawing/2014/main" id="{6CDDA9FA-43BC-4C91-A51F-1AC4C7D28A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8" name="箭头: V 形 133">
                        <a:extLst>
                          <a:ext uri="{FF2B5EF4-FFF2-40B4-BE49-F238E27FC236}">
                            <a16:creationId xmlns:a16="http://schemas.microsoft.com/office/drawing/2014/main" id="{FA02E007-0BE3-41C3-98B2-A103DB5FB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6" name="矩形 5"/>
                  <p:cNvSpPr/>
                  <p:nvPr/>
                </p:nvSpPr>
                <p:spPr>
                  <a:xfrm>
                    <a:off x="3194123" y="1474222"/>
                    <a:ext cx="7268448" cy="13320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50000"/>
                      </a:schemeClr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 dirty="0" err="1"/>
                  </a:p>
                </p:txBody>
              </p:sp>
            </p:grpSp>
            <p:grpSp>
              <p:nvGrpSpPr>
                <p:cNvPr id="49" name="群組 48">
                  <a:extLst>
                    <a:ext uri="{FF2B5EF4-FFF2-40B4-BE49-F238E27FC236}">
                      <a16:creationId xmlns:a16="http://schemas.microsoft.com/office/drawing/2014/main" id="{3BC99B73-C799-49CB-89C5-502AC23A3CB9}"/>
                    </a:ext>
                  </a:extLst>
                </p:cNvPr>
                <p:cNvGrpSpPr/>
                <p:nvPr/>
              </p:nvGrpSpPr>
              <p:grpSpPr>
                <a:xfrm>
                  <a:off x="6397206" y="3406422"/>
                  <a:ext cx="1209581" cy="865317"/>
                  <a:chOff x="6746252" y="3406422"/>
                  <a:chExt cx="1209581" cy="865317"/>
                </a:xfrm>
              </p:grpSpPr>
              <p:sp>
                <p:nvSpPr>
                  <p:cNvPr id="165" name="矩形 164"/>
                  <p:cNvSpPr/>
                  <p:nvPr/>
                </p:nvSpPr>
                <p:spPr>
                  <a:xfrm>
                    <a:off x="6746252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Setup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&amp;</a:t>
                    </a:r>
                    <a:r>
                      <a:rPr lang="zh-TW" altLang="en-US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 </a:t>
                    </a:r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ENV</a:t>
                    </a:r>
                  </a:p>
                </p:txBody>
              </p:sp>
              <p:sp>
                <p:nvSpPr>
                  <p:cNvPr id="170" name="矩形 169"/>
                  <p:cNvSpPr/>
                  <p:nvPr/>
                </p:nvSpPr>
                <p:spPr>
                  <a:xfrm>
                    <a:off x="6746252" y="3875739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Read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7" name="群組 46">
                  <a:extLst>
                    <a:ext uri="{FF2B5EF4-FFF2-40B4-BE49-F238E27FC236}">
                      <a16:creationId xmlns:a16="http://schemas.microsoft.com/office/drawing/2014/main" id="{80DE74D8-67F0-4148-ACA6-2A8095989A06}"/>
                    </a:ext>
                  </a:extLst>
                </p:cNvPr>
                <p:cNvGrpSpPr/>
                <p:nvPr/>
              </p:nvGrpSpPr>
              <p:grpSpPr>
                <a:xfrm>
                  <a:off x="4252630" y="3679160"/>
                  <a:ext cx="288000" cy="295557"/>
                  <a:chOff x="4523490" y="3610817"/>
                  <a:chExt cx="288000" cy="295557"/>
                </a:xfrm>
              </p:grpSpPr>
              <p:cxnSp>
                <p:nvCxnSpPr>
                  <p:cNvPr id="235" name="直接箭头连接符 234"/>
                  <p:cNvCxnSpPr/>
                  <p:nvPr/>
                </p:nvCxnSpPr>
                <p:spPr>
                  <a:xfrm flipV="1">
                    <a:off x="4533676" y="3610817"/>
                    <a:ext cx="277814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直接箭头连接符 236"/>
                  <p:cNvCxnSpPr>
                    <a:cxnSpLocks/>
                  </p:cNvCxnSpPr>
                  <p:nvPr/>
                </p:nvCxnSpPr>
                <p:spPr>
                  <a:xfrm>
                    <a:off x="4523490" y="3822071"/>
                    <a:ext cx="278687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8" name="群組 57">
                  <a:extLst>
                    <a:ext uri="{FF2B5EF4-FFF2-40B4-BE49-F238E27FC236}">
                      <a16:creationId xmlns:a16="http://schemas.microsoft.com/office/drawing/2014/main" id="{C1491534-9647-4374-9720-F1B3B89283CA}"/>
                    </a:ext>
                  </a:extLst>
                </p:cNvPr>
                <p:cNvGrpSpPr/>
                <p:nvPr/>
              </p:nvGrpSpPr>
              <p:grpSpPr>
                <a:xfrm>
                  <a:off x="4686511" y="3406422"/>
                  <a:ext cx="1209581" cy="836735"/>
                  <a:chOff x="4639127" y="3406422"/>
                  <a:chExt cx="1209581" cy="836735"/>
                </a:xfrm>
              </p:grpSpPr>
              <p:sp>
                <p:nvSpPr>
                  <p:cNvPr id="34" name="矩形 33">
                    <a:extLst>
                      <a:ext uri="{FF2B5EF4-FFF2-40B4-BE49-F238E27FC236}">
                        <a16:creationId xmlns:a16="http://schemas.microsoft.com/office/drawing/2014/main" id="{5E1D551E-3716-4D5F-95B9-110B558C8FBE}"/>
                      </a:ext>
                    </a:extLst>
                  </p:cNvPr>
                  <p:cNvSpPr/>
                  <p:nvPr/>
                </p:nvSpPr>
                <p:spPr>
                  <a:xfrm>
                    <a:off x="4639127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API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5" name="矩形 34">
                    <a:extLst>
                      <a:ext uri="{FF2B5EF4-FFF2-40B4-BE49-F238E27FC236}">
                        <a16:creationId xmlns:a16="http://schemas.microsoft.com/office/drawing/2014/main" id="{D5E159B2-6D7E-4597-820A-C930AA35578C}"/>
                      </a:ext>
                    </a:extLst>
                  </p:cNvPr>
                  <p:cNvSpPr/>
                  <p:nvPr/>
                </p:nvSpPr>
                <p:spPr>
                  <a:xfrm>
                    <a:off x="4639127" y="3847157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Manually Input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4" name="群組 43">
                  <a:extLst>
                    <a:ext uri="{FF2B5EF4-FFF2-40B4-BE49-F238E27FC236}">
                      <a16:creationId xmlns:a16="http://schemas.microsoft.com/office/drawing/2014/main" id="{1874628A-18EF-4351-BBD9-016096486191}"/>
                    </a:ext>
                  </a:extLst>
                </p:cNvPr>
                <p:cNvGrpSpPr/>
                <p:nvPr/>
              </p:nvGrpSpPr>
              <p:grpSpPr>
                <a:xfrm>
                  <a:off x="6010994" y="3601535"/>
                  <a:ext cx="288000" cy="488043"/>
                  <a:chOff x="6353710" y="3601535"/>
                  <a:chExt cx="282460" cy="488043"/>
                </a:xfrm>
              </p:grpSpPr>
              <p:cxnSp>
                <p:nvCxnSpPr>
                  <p:cNvPr id="48" name="直接箭头连接符 47"/>
                  <p:cNvCxnSpPr/>
                  <p:nvPr/>
                </p:nvCxnSpPr>
                <p:spPr>
                  <a:xfrm>
                    <a:off x="6353710" y="36015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直接箭头连接符 47">
                    <a:extLst>
                      <a:ext uri="{FF2B5EF4-FFF2-40B4-BE49-F238E27FC236}">
                        <a16:creationId xmlns:a16="http://schemas.microsoft.com/office/drawing/2014/main" id="{61B4D3A4-4243-42CE-B07F-5EFC3758909F}"/>
                      </a:ext>
                    </a:extLst>
                  </p:cNvPr>
                  <p:cNvCxnSpPr/>
                  <p:nvPr/>
                </p:nvCxnSpPr>
                <p:spPr>
                  <a:xfrm>
                    <a:off x="6353710" y="40895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1792F1BF-FE39-4997-9186-50FA21F99CD7}"/>
                    </a:ext>
                  </a:extLst>
                </p:cNvPr>
                <p:cNvSpPr/>
                <p:nvPr/>
              </p:nvSpPr>
              <p:spPr>
                <a:xfrm>
                  <a:off x="2975816" y="3633604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Import Library</a:t>
                  </a:r>
                </a:p>
              </p:txBody>
            </p:sp>
            <p:grpSp>
              <p:nvGrpSpPr>
                <p:cNvPr id="43" name="群組 42">
                  <a:extLst>
                    <a:ext uri="{FF2B5EF4-FFF2-40B4-BE49-F238E27FC236}">
                      <a16:creationId xmlns:a16="http://schemas.microsoft.com/office/drawing/2014/main" id="{A6EC4E10-9FF5-4446-BB95-5D1C6D74922A}"/>
                    </a:ext>
                  </a:extLst>
                </p:cNvPr>
                <p:cNvGrpSpPr/>
                <p:nvPr/>
              </p:nvGrpSpPr>
              <p:grpSpPr>
                <a:xfrm>
                  <a:off x="7693238" y="3601535"/>
                  <a:ext cx="288000" cy="488043"/>
                  <a:chOff x="6506110" y="3753935"/>
                  <a:chExt cx="282460" cy="488043"/>
                </a:xfrm>
              </p:grpSpPr>
              <p:cxnSp>
                <p:nvCxnSpPr>
                  <p:cNvPr id="159" name="直接箭头连接符 47">
                    <a:extLst>
                      <a:ext uri="{FF2B5EF4-FFF2-40B4-BE49-F238E27FC236}">
                        <a16:creationId xmlns:a16="http://schemas.microsoft.com/office/drawing/2014/main" id="{F3BE5FF5-04EB-4E92-BF44-8A7067C47ABA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37539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箭头连接符 47">
                    <a:extLst>
                      <a:ext uri="{FF2B5EF4-FFF2-40B4-BE49-F238E27FC236}">
                        <a16:creationId xmlns:a16="http://schemas.microsoft.com/office/drawing/2014/main" id="{E0E113C5-ADAF-41AE-BF47-9BFE14FBAD52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42419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0" name="群組 49">
                  <a:extLst>
                    <a:ext uri="{FF2B5EF4-FFF2-40B4-BE49-F238E27FC236}">
                      <a16:creationId xmlns:a16="http://schemas.microsoft.com/office/drawing/2014/main" id="{B6B96B22-4C4F-4CF6-8537-75D2D94A67BD}"/>
                    </a:ext>
                  </a:extLst>
                </p:cNvPr>
                <p:cNvGrpSpPr/>
                <p:nvPr/>
              </p:nvGrpSpPr>
              <p:grpSpPr>
                <a:xfrm>
                  <a:off x="8107901" y="3406422"/>
                  <a:ext cx="1416823" cy="865317"/>
                  <a:chOff x="8615631" y="3406422"/>
                  <a:chExt cx="1416823" cy="865317"/>
                </a:xfrm>
              </p:grpSpPr>
              <p:sp>
                <p:nvSpPr>
                  <p:cNvPr id="172" name="矩形 171"/>
                  <p:cNvSpPr/>
                  <p:nvPr/>
                </p:nvSpPr>
                <p:spPr>
                  <a:xfrm>
                    <a:off x="8615631" y="3406422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efine &amp; Select Variables</a:t>
                    </a:r>
                  </a:p>
                </p:txBody>
              </p:sp>
              <p:sp>
                <p:nvSpPr>
                  <p:cNvPr id="45" name="矩形 44">
                    <a:extLst>
                      <a:ext uri="{FF2B5EF4-FFF2-40B4-BE49-F238E27FC236}">
                        <a16:creationId xmlns:a16="http://schemas.microsoft.com/office/drawing/2014/main" id="{AD1F9558-4F8D-46BD-B297-23FE041D248E}"/>
                      </a:ext>
                    </a:extLst>
                  </p:cNvPr>
                  <p:cNvSpPr/>
                  <p:nvPr/>
                </p:nvSpPr>
                <p:spPr>
                  <a:xfrm>
                    <a:off x="8628454" y="3875739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type &amp; Info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62" name="群組 161">
                  <a:extLst>
                    <a:ext uri="{FF2B5EF4-FFF2-40B4-BE49-F238E27FC236}">
                      <a16:creationId xmlns:a16="http://schemas.microsoft.com/office/drawing/2014/main" id="{D59F9C29-0175-47B6-8A08-80D66FEC8ADB}"/>
                    </a:ext>
                  </a:extLst>
                </p:cNvPr>
                <p:cNvGrpSpPr/>
                <p:nvPr/>
              </p:nvGrpSpPr>
              <p:grpSpPr>
                <a:xfrm>
                  <a:off x="9579502" y="3639217"/>
                  <a:ext cx="288000" cy="375444"/>
                  <a:chOff x="8125669" y="3601535"/>
                  <a:chExt cx="706753" cy="375444"/>
                </a:xfrm>
              </p:grpSpPr>
              <p:cxnSp>
                <p:nvCxnSpPr>
                  <p:cNvPr id="163" name="直接箭头连接符 234">
                    <a:extLst>
                      <a:ext uri="{FF2B5EF4-FFF2-40B4-BE49-F238E27FC236}">
                        <a16:creationId xmlns:a16="http://schemas.microsoft.com/office/drawing/2014/main" id="{6234B22D-1D09-4816-8BFB-503AF43C6F7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8150666" y="3835397"/>
                    <a:ext cx="681756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直接箭头连接符 236">
                    <a:extLst>
                      <a:ext uri="{FF2B5EF4-FFF2-40B4-BE49-F238E27FC236}">
                        <a16:creationId xmlns:a16="http://schemas.microsoft.com/office/drawing/2014/main" id="{4838B5AE-D7E8-428F-B07B-9BBAFA469E49}"/>
                      </a:ext>
                    </a:extLst>
                  </p:cNvPr>
                  <p:cNvCxnSpPr/>
                  <p:nvPr/>
                </p:nvCxnSpPr>
                <p:spPr>
                  <a:xfrm>
                    <a:off x="8125669" y="3601535"/>
                    <a:ext cx="683899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群組 56">
                  <a:extLst>
                    <a:ext uri="{FF2B5EF4-FFF2-40B4-BE49-F238E27FC236}">
                      <a16:creationId xmlns:a16="http://schemas.microsoft.com/office/drawing/2014/main" id="{70E10F83-F0F5-4C8E-9AAA-35495BA8A7ED}"/>
                    </a:ext>
                  </a:extLst>
                </p:cNvPr>
                <p:cNvGrpSpPr/>
                <p:nvPr/>
              </p:nvGrpSpPr>
              <p:grpSpPr>
                <a:xfrm>
                  <a:off x="10025838" y="1977558"/>
                  <a:ext cx="1209581" cy="2090363"/>
                  <a:chOff x="9850877" y="1977558"/>
                  <a:chExt cx="1209581" cy="2090363"/>
                </a:xfrm>
              </p:grpSpPr>
              <p:sp>
                <p:nvSpPr>
                  <p:cNvPr id="174" name="矩形 173"/>
                  <p:cNvSpPr/>
                  <p:nvPr/>
                </p:nvSpPr>
                <p:spPr>
                  <a:xfrm>
                    <a:off x="9850877" y="3671921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56" name="矩形 55">
                    <a:extLst>
                      <a:ext uri="{FF2B5EF4-FFF2-40B4-BE49-F238E27FC236}">
                        <a16:creationId xmlns:a16="http://schemas.microsoft.com/office/drawing/2014/main" id="{587EB70D-A543-4FF4-8D02-C36EA9E02095}"/>
                      </a:ext>
                    </a:extLst>
                  </p:cNvPr>
                  <p:cNvSpPr/>
                  <p:nvPr/>
                </p:nvSpPr>
                <p:spPr>
                  <a:xfrm>
                    <a:off x="9850877" y="1977558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pic>
              <p:nvPicPr>
                <p:cNvPr id="14" name="圖形 13" descr="網頁設計">
                  <a:extLst>
                    <a:ext uri="{FF2B5EF4-FFF2-40B4-BE49-F238E27FC236}">
                      <a16:creationId xmlns:a16="http://schemas.microsoft.com/office/drawing/2014/main" id="{E9D4D349-6776-4AA7-AE37-581A5933AC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1611" y="1624094"/>
                  <a:ext cx="346998" cy="346998"/>
                </a:xfrm>
                <a:prstGeom prst="rect">
                  <a:avLst/>
                </a:prstGeom>
              </p:spPr>
            </p:pic>
            <p:pic>
              <p:nvPicPr>
                <p:cNvPr id="71" name="圖形 70" descr="文件">
                  <a:extLst>
                    <a:ext uri="{FF2B5EF4-FFF2-40B4-BE49-F238E27FC236}">
                      <a16:creationId xmlns:a16="http://schemas.microsoft.com/office/drawing/2014/main" id="{3CDF69D0-6371-44F6-A56A-83E1A6937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2664" y="161571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3" name="圖形 72" descr="伺服器">
                  <a:extLst>
                    <a:ext uri="{FF2B5EF4-FFF2-40B4-BE49-F238E27FC236}">
                      <a16:creationId xmlns:a16="http://schemas.microsoft.com/office/drawing/2014/main" id="{EB0B9820-C832-4715-A72C-A8701C5151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2107" y="228379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5" name="圖形 74" descr="橡皮擦">
                  <a:extLst>
                    <a:ext uri="{FF2B5EF4-FFF2-40B4-BE49-F238E27FC236}">
                      <a16:creationId xmlns:a16="http://schemas.microsoft.com/office/drawing/2014/main" id="{B1976784-376B-47F6-8B1E-563C3F7641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9122" y="161562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7" name="圖形 76" descr="剪刀">
                  <a:extLst>
                    <a:ext uri="{FF2B5EF4-FFF2-40B4-BE49-F238E27FC236}">
                      <a16:creationId xmlns:a16="http://schemas.microsoft.com/office/drawing/2014/main" id="{9B499FB9-9624-4873-AB49-79A0D8CE34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3009" y="2259860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9" name="圖形 78" descr="數學">
                  <a:extLst>
                    <a:ext uri="{FF2B5EF4-FFF2-40B4-BE49-F238E27FC236}">
                      <a16:creationId xmlns:a16="http://schemas.microsoft.com/office/drawing/2014/main" id="{086BFB80-93D1-4402-98DF-2F0CBD054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72698" y="2278741"/>
                  <a:ext cx="345600" cy="345600"/>
                </a:xfrm>
                <a:prstGeom prst="rect">
                  <a:avLst/>
                </a:prstGeom>
              </p:spPr>
            </p:pic>
            <p:grpSp>
              <p:nvGrpSpPr>
                <p:cNvPr id="28" name="群組 27">
                  <a:extLst>
                    <a:ext uri="{FF2B5EF4-FFF2-40B4-BE49-F238E27FC236}">
                      <a16:creationId xmlns:a16="http://schemas.microsoft.com/office/drawing/2014/main" id="{050BEFDA-B758-47A4-85D7-0EB974595572}"/>
                    </a:ext>
                  </a:extLst>
                </p:cNvPr>
                <p:cNvGrpSpPr/>
                <p:nvPr/>
              </p:nvGrpSpPr>
              <p:grpSpPr>
                <a:xfrm>
                  <a:off x="11284718" y="1726673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223" name="文本框 222"/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24" name="Shape 300"/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0" name="圖形 9" descr="橫條圖">
                    <a:extLst>
                      <a:ext uri="{FF2B5EF4-FFF2-40B4-BE49-F238E27FC236}">
                        <a16:creationId xmlns:a16="http://schemas.microsoft.com/office/drawing/2014/main" id="{43BD03A0-2342-431D-92A2-FC6FFE6924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92" name="群組 191">
                  <a:extLst>
                    <a:ext uri="{FF2B5EF4-FFF2-40B4-BE49-F238E27FC236}">
                      <a16:creationId xmlns:a16="http://schemas.microsoft.com/office/drawing/2014/main" id="{CC6F6696-08B3-4304-96D7-08C78838D80F}"/>
                    </a:ext>
                  </a:extLst>
                </p:cNvPr>
                <p:cNvGrpSpPr/>
                <p:nvPr/>
              </p:nvGrpSpPr>
              <p:grpSpPr>
                <a:xfrm>
                  <a:off x="11284718" y="3532058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193" name="文本框 222">
                    <a:extLst>
                      <a:ext uri="{FF2B5EF4-FFF2-40B4-BE49-F238E27FC236}">
                        <a16:creationId xmlns:a16="http://schemas.microsoft.com/office/drawing/2014/main" id="{22E0F2FA-0576-4385-9BFA-60C07DF7571F}"/>
                      </a:ext>
                    </a:extLst>
                  </p:cNvPr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94" name="Shape 300">
                    <a:extLst>
                      <a:ext uri="{FF2B5EF4-FFF2-40B4-BE49-F238E27FC236}">
                        <a16:creationId xmlns:a16="http://schemas.microsoft.com/office/drawing/2014/main" id="{A3F3373F-27B5-4B66-866E-03D19FCE3127}"/>
                      </a:ext>
                    </a:extLst>
                  </p:cNvPr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95" name="圖形 194" descr="橫條圖">
                    <a:extLst>
                      <a:ext uri="{FF2B5EF4-FFF2-40B4-BE49-F238E27FC236}">
                        <a16:creationId xmlns:a16="http://schemas.microsoft.com/office/drawing/2014/main" id="{B4FADC06-7CAE-4247-8448-EAA633E115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69" name="等腰三角形 168">
                <a:extLst>
                  <a:ext uri="{FF2B5EF4-FFF2-40B4-BE49-F238E27FC236}">
                    <a16:creationId xmlns:a16="http://schemas.microsoft.com/office/drawing/2014/main" id="{2BE4EE36-2142-4117-B7A8-69BFE02E9A10}"/>
                  </a:ext>
                </a:extLst>
              </p:cNvPr>
              <p:cNvSpPr/>
              <p:nvPr/>
            </p:nvSpPr>
            <p:spPr>
              <a:xfrm rot="10800000" flipH="1" flipV="1">
                <a:off x="4760446" y="4242687"/>
                <a:ext cx="2583218" cy="216000"/>
              </a:xfrm>
              <a:prstGeom prst="triangle">
                <a:avLst/>
              </a:prstGeom>
              <a:gradFill flip="none" rotWithShape="1">
                <a:gsLst>
                  <a:gs pos="100000">
                    <a:schemeClr val="accent1"/>
                  </a:gs>
                  <a:gs pos="48000">
                    <a:schemeClr val="accent1">
                      <a:lumMod val="60000"/>
                      <a:lumOff val="40000"/>
                    </a:schemeClr>
                  </a:gs>
                  <a:gs pos="24000">
                    <a:schemeClr val="accent1">
                      <a:lumMod val="20000"/>
                      <a:lumOff val="80000"/>
                    </a:schemeClr>
                  </a:gs>
                  <a:gs pos="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E2231A"/>
                  </a:buClr>
                  <a:buSzPct val="90000"/>
                  <a:buFont typeface="Wingdings" panose="05000000000000000000" pitchFamily="2" charset="2"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862481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49934282-7A59-4674-9960-FDCB549A4458}"/>
              </a:ext>
            </a:extLst>
          </p:cNvPr>
          <p:cNvGrpSpPr/>
          <p:nvPr/>
        </p:nvGrpSpPr>
        <p:grpSpPr>
          <a:xfrm>
            <a:off x="6529289" y="4040905"/>
            <a:ext cx="5007128" cy="664688"/>
            <a:chOff x="6529289" y="4453755"/>
            <a:chExt cx="5007128" cy="664688"/>
          </a:xfrm>
        </p:grpSpPr>
        <p:grpSp>
          <p:nvGrpSpPr>
            <p:cNvPr id="63" name="组合 20">
              <a:extLst>
                <a:ext uri="{FF2B5EF4-FFF2-40B4-BE49-F238E27FC236}">
                  <a16:creationId xmlns:a16="http://schemas.microsoft.com/office/drawing/2014/main" id="{B618BFF6-23A0-48BC-9813-33E7FC7E84B2}"/>
                </a:ext>
              </a:extLst>
            </p:cNvPr>
            <p:cNvGrpSpPr/>
            <p:nvPr/>
          </p:nvGrpSpPr>
          <p:grpSpPr>
            <a:xfrm>
              <a:off x="6529289" y="4453755"/>
              <a:ext cx="5007128" cy="664688"/>
              <a:chOff x="1490103" y="3110398"/>
              <a:chExt cx="9339807" cy="1239843"/>
            </a:xfrm>
          </p:grpSpPr>
          <p:sp>
            <p:nvSpPr>
              <p:cNvPr id="64" name="Arrow: Pentagon 113">
                <a:extLst>
                  <a:ext uri="{FF2B5EF4-FFF2-40B4-BE49-F238E27FC236}">
                    <a16:creationId xmlns:a16="http://schemas.microsoft.com/office/drawing/2014/main" id="{EA9A6249-FD93-4AB5-84F6-91C3A9AF343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DA741D01-8BAC-438F-9ACD-C6A1649B0596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66" name="组合 24">
                <a:extLst>
                  <a:ext uri="{FF2B5EF4-FFF2-40B4-BE49-F238E27FC236}">
                    <a16:creationId xmlns:a16="http://schemas.microsoft.com/office/drawing/2014/main" id="{54082F01-FFA8-45A8-9EC2-88F5302C40F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69" name="直接连接符 27">
                  <a:extLst>
                    <a:ext uri="{FF2B5EF4-FFF2-40B4-BE49-F238E27FC236}">
                      <a16:creationId xmlns:a16="http://schemas.microsoft.com/office/drawing/2014/main" id="{75D00936-9181-44B0-ACA5-B4861EEDD6FD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28">
                  <a:extLst>
                    <a:ext uri="{FF2B5EF4-FFF2-40B4-BE49-F238E27FC236}">
                      <a16:creationId xmlns:a16="http://schemas.microsoft.com/office/drawing/2014/main" id="{3AB91880-17A1-41BE-9319-A5D38B8A814F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D8AFDF8B-20E3-4CCE-A158-8CB0076151CE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Passengers</a:t>
                </a:r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.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lang="en-US" altLang="zh-TW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Increase </a:t>
                </a: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by 58 globally</a:t>
                </a:r>
              </a:p>
            </p:txBody>
          </p:sp>
        </p:grpSp>
        <p:sp>
          <p:nvSpPr>
            <p:cNvPr id="2" name="teamwork_292324">
              <a:extLst>
                <a:ext uri="{FF2B5EF4-FFF2-40B4-BE49-F238E27FC236}">
                  <a16:creationId xmlns:a16="http://schemas.microsoft.com/office/drawing/2014/main" id="{1B6193BF-F4F6-4AD3-8614-73336C57A8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99329" y="4584244"/>
              <a:ext cx="475431" cy="331990"/>
            </a:xfrm>
            <a:custGeom>
              <a:avLst/>
              <a:gdLst>
                <a:gd name="connsiteX0" fmla="*/ 471165 w 607639"/>
                <a:gd name="connsiteY0" fmla="*/ 232443 h 424310"/>
                <a:gd name="connsiteX1" fmla="*/ 554492 w 607639"/>
                <a:gd name="connsiteY1" fmla="*/ 232443 h 424310"/>
                <a:gd name="connsiteX2" fmla="*/ 607639 w 607639"/>
                <a:gd name="connsiteY2" fmla="*/ 285482 h 424310"/>
                <a:gd name="connsiteX3" fmla="*/ 607639 w 607639"/>
                <a:gd name="connsiteY3" fmla="*/ 367572 h 424310"/>
                <a:gd name="connsiteX4" fmla="*/ 587342 w 607639"/>
                <a:gd name="connsiteY4" fmla="*/ 387828 h 424310"/>
                <a:gd name="connsiteX5" fmla="*/ 484430 w 607639"/>
                <a:gd name="connsiteY5" fmla="*/ 387828 h 424310"/>
                <a:gd name="connsiteX6" fmla="*/ 484430 w 607639"/>
                <a:gd name="connsiteY6" fmla="*/ 284327 h 424310"/>
                <a:gd name="connsiteX7" fmla="*/ 471165 w 607639"/>
                <a:gd name="connsiteY7" fmla="*/ 232443 h 424310"/>
                <a:gd name="connsiteX8" fmla="*/ 53127 w 607639"/>
                <a:gd name="connsiteY8" fmla="*/ 232443 h 424310"/>
                <a:gd name="connsiteX9" fmla="*/ 136332 w 607639"/>
                <a:gd name="connsiteY9" fmla="*/ 232443 h 424310"/>
                <a:gd name="connsiteX10" fmla="*/ 123162 w 607639"/>
                <a:gd name="connsiteY10" fmla="*/ 284327 h 424310"/>
                <a:gd name="connsiteX11" fmla="*/ 123162 w 607639"/>
                <a:gd name="connsiteY11" fmla="*/ 387828 h 424310"/>
                <a:gd name="connsiteX12" fmla="*/ 20290 w 607639"/>
                <a:gd name="connsiteY12" fmla="*/ 387828 h 424310"/>
                <a:gd name="connsiteX13" fmla="*/ 0 w 607639"/>
                <a:gd name="connsiteY13" fmla="*/ 367572 h 424310"/>
                <a:gd name="connsiteX14" fmla="*/ 0 w 607639"/>
                <a:gd name="connsiteY14" fmla="*/ 285482 h 424310"/>
                <a:gd name="connsiteX15" fmla="*/ 53127 w 607639"/>
                <a:gd name="connsiteY15" fmla="*/ 232443 h 424310"/>
                <a:gd name="connsiteX16" fmla="*/ 199559 w 607639"/>
                <a:gd name="connsiteY16" fmla="*/ 224446 h 424310"/>
                <a:gd name="connsiteX17" fmla="*/ 208281 w 607639"/>
                <a:gd name="connsiteY17" fmla="*/ 226312 h 424310"/>
                <a:gd name="connsiteX18" fmla="*/ 287577 w 607639"/>
                <a:gd name="connsiteY18" fmla="*/ 332065 h 424310"/>
                <a:gd name="connsiteX19" fmla="*/ 320061 w 607639"/>
                <a:gd name="connsiteY19" fmla="*/ 332065 h 424310"/>
                <a:gd name="connsiteX20" fmla="*/ 399357 w 607639"/>
                <a:gd name="connsiteY20" fmla="*/ 226312 h 424310"/>
                <a:gd name="connsiteX21" fmla="*/ 407990 w 607639"/>
                <a:gd name="connsiteY21" fmla="*/ 224446 h 424310"/>
                <a:gd name="connsiteX22" fmla="*/ 443856 w 607639"/>
                <a:gd name="connsiteY22" fmla="*/ 284343 h 424310"/>
                <a:gd name="connsiteX23" fmla="*/ 443856 w 607639"/>
                <a:gd name="connsiteY23" fmla="*/ 404048 h 424310"/>
                <a:gd name="connsiteX24" fmla="*/ 423565 w 607639"/>
                <a:gd name="connsiteY24" fmla="*/ 424310 h 424310"/>
                <a:gd name="connsiteX25" fmla="*/ 184073 w 607639"/>
                <a:gd name="connsiteY25" fmla="*/ 424310 h 424310"/>
                <a:gd name="connsiteX26" fmla="*/ 163782 w 607639"/>
                <a:gd name="connsiteY26" fmla="*/ 404048 h 424310"/>
                <a:gd name="connsiteX27" fmla="*/ 163782 w 607639"/>
                <a:gd name="connsiteY27" fmla="*/ 284343 h 424310"/>
                <a:gd name="connsiteX28" fmla="*/ 199559 w 607639"/>
                <a:gd name="connsiteY28" fmla="*/ 224446 h 424310"/>
                <a:gd name="connsiteX29" fmla="*/ 264876 w 607639"/>
                <a:gd name="connsiteY29" fmla="*/ 216213 h 424310"/>
                <a:gd name="connsiteX30" fmla="*/ 342675 w 607639"/>
                <a:gd name="connsiteY30" fmla="*/ 216213 h 424310"/>
                <a:gd name="connsiteX31" fmla="*/ 348104 w 607639"/>
                <a:gd name="connsiteY31" fmla="*/ 227064 h 424310"/>
                <a:gd name="connsiteX32" fmla="*/ 309205 w 607639"/>
                <a:gd name="connsiteY32" fmla="*/ 278917 h 424310"/>
                <a:gd name="connsiteX33" fmla="*/ 298346 w 607639"/>
                <a:gd name="connsiteY33" fmla="*/ 278917 h 424310"/>
                <a:gd name="connsiteX34" fmla="*/ 259536 w 607639"/>
                <a:gd name="connsiteY34" fmla="*/ 227064 h 424310"/>
                <a:gd name="connsiteX35" fmla="*/ 264876 w 607639"/>
                <a:gd name="connsiteY35" fmla="*/ 216213 h 424310"/>
                <a:gd name="connsiteX36" fmla="*/ 505460 w 607639"/>
                <a:gd name="connsiteY36" fmla="*/ 83832 h 424310"/>
                <a:gd name="connsiteX37" fmla="*/ 575179 w 607639"/>
                <a:gd name="connsiteY37" fmla="*/ 153409 h 424310"/>
                <a:gd name="connsiteX38" fmla="*/ 505460 w 607639"/>
                <a:gd name="connsiteY38" fmla="*/ 222987 h 424310"/>
                <a:gd name="connsiteX39" fmla="*/ 435742 w 607639"/>
                <a:gd name="connsiteY39" fmla="*/ 153409 h 424310"/>
                <a:gd name="connsiteX40" fmla="*/ 505460 w 607639"/>
                <a:gd name="connsiteY40" fmla="*/ 83832 h 424310"/>
                <a:gd name="connsiteX41" fmla="*/ 102179 w 607639"/>
                <a:gd name="connsiteY41" fmla="*/ 83832 h 424310"/>
                <a:gd name="connsiteX42" fmla="*/ 171898 w 607639"/>
                <a:gd name="connsiteY42" fmla="*/ 153410 h 424310"/>
                <a:gd name="connsiteX43" fmla="*/ 102179 w 607639"/>
                <a:gd name="connsiteY43" fmla="*/ 222988 h 424310"/>
                <a:gd name="connsiteX44" fmla="*/ 32460 w 607639"/>
                <a:gd name="connsiteY44" fmla="*/ 153410 h 424310"/>
                <a:gd name="connsiteX45" fmla="*/ 102179 w 607639"/>
                <a:gd name="connsiteY45" fmla="*/ 83832 h 424310"/>
                <a:gd name="connsiteX46" fmla="*/ 304491 w 607639"/>
                <a:gd name="connsiteY46" fmla="*/ 0 h 424310"/>
                <a:gd name="connsiteX47" fmla="*/ 396509 w 607639"/>
                <a:gd name="connsiteY47" fmla="*/ 91912 h 424310"/>
                <a:gd name="connsiteX48" fmla="*/ 304491 w 607639"/>
                <a:gd name="connsiteY48" fmla="*/ 183824 h 424310"/>
                <a:gd name="connsiteX49" fmla="*/ 212473 w 607639"/>
                <a:gd name="connsiteY49" fmla="*/ 91912 h 424310"/>
                <a:gd name="connsiteX50" fmla="*/ 304491 w 607639"/>
                <a:gd name="connsiteY50" fmla="*/ 0 h 42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7639" h="424310">
                  <a:moveTo>
                    <a:pt x="471165" y="232443"/>
                  </a:moveTo>
                  <a:lnTo>
                    <a:pt x="554492" y="232443"/>
                  </a:lnTo>
                  <a:cubicBezTo>
                    <a:pt x="583781" y="232443"/>
                    <a:pt x="607639" y="256253"/>
                    <a:pt x="607639" y="285482"/>
                  </a:cubicBezTo>
                  <a:lnTo>
                    <a:pt x="607639" y="367572"/>
                  </a:lnTo>
                  <a:cubicBezTo>
                    <a:pt x="607639" y="378766"/>
                    <a:pt x="598559" y="387828"/>
                    <a:pt x="587342" y="387828"/>
                  </a:cubicBezTo>
                  <a:lnTo>
                    <a:pt x="484430" y="387828"/>
                  </a:lnTo>
                  <a:lnTo>
                    <a:pt x="484430" y="284327"/>
                  </a:lnTo>
                  <a:cubicBezTo>
                    <a:pt x="484430" y="265937"/>
                    <a:pt x="479711" y="248168"/>
                    <a:pt x="471165" y="232443"/>
                  </a:cubicBezTo>
                  <a:close/>
                  <a:moveTo>
                    <a:pt x="53127" y="232443"/>
                  </a:moveTo>
                  <a:lnTo>
                    <a:pt x="136332" y="232443"/>
                  </a:lnTo>
                  <a:cubicBezTo>
                    <a:pt x="127789" y="248168"/>
                    <a:pt x="123162" y="265937"/>
                    <a:pt x="123162" y="284327"/>
                  </a:cubicBezTo>
                  <a:lnTo>
                    <a:pt x="123162" y="387828"/>
                  </a:lnTo>
                  <a:lnTo>
                    <a:pt x="20290" y="387828"/>
                  </a:lnTo>
                  <a:cubicBezTo>
                    <a:pt x="9077" y="387828"/>
                    <a:pt x="0" y="378766"/>
                    <a:pt x="0" y="367572"/>
                  </a:cubicBezTo>
                  <a:lnTo>
                    <a:pt x="0" y="285482"/>
                  </a:lnTo>
                  <a:cubicBezTo>
                    <a:pt x="0" y="256253"/>
                    <a:pt x="23849" y="232443"/>
                    <a:pt x="53127" y="232443"/>
                  </a:cubicBezTo>
                  <a:close/>
                  <a:moveTo>
                    <a:pt x="199559" y="224446"/>
                  </a:moveTo>
                  <a:cubicBezTo>
                    <a:pt x="202496" y="222846"/>
                    <a:pt x="206234" y="223646"/>
                    <a:pt x="208281" y="226312"/>
                  </a:cubicBezTo>
                  <a:lnTo>
                    <a:pt x="287577" y="332065"/>
                  </a:lnTo>
                  <a:cubicBezTo>
                    <a:pt x="295676" y="342818"/>
                    <a:pt x="311962" y="342907"/>
                    <a:pt x="320061" y="332065"/>
                  </a:cubicBezTo>
                  <a:lnTo>
                    <a:pt x="399357" y="226312"/>
                  </a:lnTo>
                  <a:cubicBezTo>
                    <a:pt x="401404" y="223646"/>
                    <a:pt x="405053" y="222846"/>
                    <a:pt x="407990" y="224446"/>
                  </a:cubicBezTo>
                  <a:cubicBezTo>
                    <a:pt x="429349" y="235999"/>
                    <a:pt x="443856" y="258482"/>
                    <a:pt x="443856" y="284343"/>
                  </a:cubicBezTo>
                  <a:lnTo>
                    <a:pt x="443856" y="404048"/>
                  </a:lnTo>
                  <a:cubicBezTo>
                    <a:pt x="443856" y="415246"/>
                    <a:pt x="434778" y="424310"/>
                    <a:pt x="423565" y="424310"/>
                  </a:cubicBezTo>
                  <a:lnTo>
                    <a:pt x="184073" y="424310"/>
                  </a:lnTo>
                  <a:cubicBezTo>
                    <a:pt x="172860" y="424310"/>
                    <a:pt x="163782" y="415246"/>
                    <a:pt x="163782" y="404048"/>
                  </a:cubicBezTo>
                  <a:lnTo>
                    <a:pt x="163782" y="284343"/>
                  </a:lnTo>
                  <a:cubicBezTo>
                    <a:pt x="163782" y="258482"/>
                    <a:pt x="178289" y="235999"/>
                    <a:pt x="199559" y="224446"/>
                  </a:cubicBezTo>
                  <a:close/>
                  <a:moveTo>
                    <a:pt x="264876" y="216213"/>
                  </a:moveTo>
                  <a:lnTo>
                    <a:pt x="342675" y="216213"/>
                  </a:lnTo>
                  <a:cubicBezTo>
                    <a:pt x="348282" y="216213"/>
                    <a:pt x="351487" y="222528"/>
                    <a:pt x="348104" y="227064"/>
                  </a:cubicBezTo>
                  <a:lnTo>
                    <a:pt x="309205" y="278917"/>
                  </a:lnTo>
                  <a:cubicBezTo>
                    <a:pt x="306535" y="282474"/>
                    <a:pt x="301105" y="282474"/>
                    <a:pt x="298346" y="278917"/>
                  </a:cubicBezTo>
                  <a:lnTo>
                    <a:pt x="259536" y="227064"/>
                  </a:lnTo>
                  <a:cubicBezTo>
                    <a:pt x="256153" y="222528"/>
                    <a:pt x="259358" y="216213"/>
                    <a:pt x="264876" y="216213"/>
                  </a:cubicBezTo>
                  <a:close/>
                  <a:moveTo>
                    <a:pt x="505460" y="83832"/>
                  </a:moveTo>
                  <a:cubicBezTo>
                    <a:pt x="543926" y="83832"/>
                    <a:pt x="575179" y="115022"/>
                    <a:pt x="575179" y="153409"/>
                  </a:cubicBezTo>
                  <a:cubicBezTo>
                    <a:pt x="575179" y="191797"/>
                    <a:pt x="543837" y="222987"/>
                    <a:pt x="505460" y="222987"/>
                  </a:cubicBezTo>
                  <a:cubicBezTo>
                    <a:pt x="466995" y="222987"/>
                    <a:pt x="435742" y="191797"/>
                    <a:pt x="435742" y="153409"/>
                  </a:cubicBezTo>
                  <a:cubicBezTo>
                    <a:pt x="435742" y="115022"/>
                    <a:pt x="466995" y="83832"/>
                    <a:pt x="505460" y="83832"/>
                  </a:cubicBezTo>
                  <a:close/>
                  <a:moveTo>
                    <a:pt x="102179" y="83832"/>
                  </a:moveTo>
                  <a:cubicBezTo>
                    <a:pt x="140684" y="83832"/>
                    <a:pt x="171898" y="114983"/>
                    <a:pt x="171898" y="153410"/>
                  </a:cubicBezTo>
                  <a:cubicBezTo>
                    <a:pt x="171898" y="191837"/>
                    <a:pt x="140684" y="222988"/>
                    <a:pt x="102179" y="222988"/>
                  </a:cubicBezTo>
                  <a:cubicBezTo>
                    <a:pt x="63674" y="222988"/>
                    <a:pt x="32460" y="191837"/>
                    <a:pt x="32460" y="153410"/>
                  </a:cubicBezTo>
                  <a:cubicBezTo>
                    <a:pt x="32460" y="114983"/>
                    <a:pt x="63674" y="83832"/>
                    <a:pt x="102179" y="83832"/>
                  </a:cubicBezTo>
                  <a:close/>
                  <a:moveTo>
                    <a:pt x="304491" y="0"/>
                  </a:moveTo>
                  <a:cubicBezTo>
                    <a:pt x="355311" y="0"/>
                    <a:pt x="396509" y="41150"/>
                    <a:pt x="396509" y="91912"/>
                  </a:cubicBezTo>
                  <a:cubicBezTo>
                    <a:pt x="396509" y="142674"/>
                    <a:pt x="355311" y="183824"/>
                    <a:pt x="304491" y="183824"/>
                  </a:cubicBezTo>
                  <a:cubicBezTo>
                    <a:pt x="253671" y="183824"/>
                    <a:pt x="212473" y="142674"/>
                    <a:pt x="212473" y="91912"/>
                  </a:cubicBezTo>
                  <a:cubicBezTo>
                    <a:pt x="212473" y="41150"/>
                    <a:pt x="253671" y="0"/>
                    <a:pt x="30449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F72CC1D7-4AC5-432B-8A0F-03407A51B303}"/>
              </a:ext>
            </a:extLst>
          </p:cNvPr>
          <p:cNvGrpSpPr/>
          <p:nvPr/>
        </p:nvGrpSpPr>
        <p:grpSpPr>
          <a:xfrm>
            <a:off x="6529289" y="2877182"/>
            <a:ext cx="5007128" cy="664688"/>
            <a:chOff x="6529289" y="2877182"/>
            <a:chExt cx="5007128" cy="664688"/>
          </a:xfrm>
        </p:grpSpPr>
        <p:grpSp>
          <p:nvGrpSpPr>
            <p:cNvPr id="53" name="组合 20">
              <a:extLst>
                <a:ext uri="{FF2B5EF4-FFF2-40B4-BE49-F238E27FC236}">
                  <a16:creationId xmlns:a16="http://schemas.microsoft.com/office/drawing/2014/main" id="{49C33235-29F9-482C-ACB2-AB071DD2331B}"/>
                </a:ext>
              </a:extLst>
            </p:cNvPr>
            <p:cNvGrpSpPr/>
            <p:nvPr/>
          </p:nvGrpSpPr>
          <p:grpSpPr>
            <a:xfrm>
              <a:off x="6529289" y="2877182"/>
              <a:ext cx="5007128" cy="664688"/>
              <a:chOff x="1490103" y="3110398"/>
              <a:chExt cx="9339807" cy="1239843"/>
            </a:xfrm>
          </p:grpSpPr>
          <p:sp>
            <p:nvSpPr>
              <p:cNvPr id="54" name="Arrow: Pentagon 113">
                <a:extLst>
                  <a:ext uri="{FF2B5EF4-FFF2-40B4-BE49-F238E27FC236}">
                    <a16:creationId xmlns:a16="http://schemas.microsoft.com/office/drawing/2014/main" id="{42B57EB6-ECEB-480E-9DD9-8C57E202E753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70E7B944-4C35-421F-A069-2DDAEC1FB18E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56" name="组合 24">
                <a:extLst>
                  <a:ext uri="{FF2B5EF4-FFF2-40B4-BE49-F238E27FC236}">
                    <a16:creationId xmlns:a16="http://schemas.microsoft.com/office/drawing/2014/main" id="{91B575C9-11F2-4862-B51D-C73F2AC6D62E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59" name="直接连接符 27">
                  <a:extLst>
                    <a:ext uri="{FF2B5EF4-FFF2-40B4-BE49-F238E27FC236}">
                      <a16:creationId xmlns:a16="http://schemas.microsoft.com/office/drawing/2014/main" id="{3F00EAB9-AF34-4B37-B4A7-EE24501DBE3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直接连接符 28">
                  <a:extLst>
                    <a:ext uri="{FF2B5EF4-FFF2-40B4-BE49-F238E27FC236}">
                      <a16:creationId xmlns:a16="http://schemas.microsoft.com/office/drawing/2014/main" id="{D4EED048-73ED-40C3-BCC6-2A1F2025BD9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8DF5AB74-24F6-43CD-966F-12157D38DE83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Expected EV Status</a:t>
                </a:r>
                <a:endPara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500 million EV passenger on the road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31% world's passenger cars are electric </a:t>
                </a:r>
              </a:p>
            </p:txBody>
          </p:sp>
        </p:grpSp>
        <p:pic>
          <p:nvPicPr>
            <p:cNvPr id="5" name="圖形 4" descr="電動車">
              <a:extLst>
                <a:ext uri="{FF2B5EF4-FFF2-40B4-BE49-F238E27FC236}">
                  <a16:creationId xmlns:a16="http://schemas.microsoft.com/office/drawing/2014/main" id="{40FED40D-0308-462B-80A4-7EF4F71CF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9446" y="2902097"/>
              <a:ext cx="580948" cy="580948"/>
            </a:xfrm>
            <a:prstGeom prst="rect">
              <a:avLst/>
            </a:prstGeom>
          </p:spPr>
        </p:pic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660028-4BCB-4C84-B1EB-DCDFEF9EFF1B}"/>
              </a:ext>
            </a:extLst>
          </p:cNvPr>
          <p:cNvGrpSpPr/>
          <p:nvPr/>
        </p:nvGrpSpPr>
        <p:grpSpPr>
          <a:xfrm>
            <a:off x="6529289" y="5204629"/>
            <a:ext cx="5007128" cy="591023"/>
            <a:chOff x="6529289" y="5204629"/>
            <a:chExt cx="5007128" cy="591023"/>
          </a:xfrm>
        </p:grpSpPr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id="{11E02900-BE76-4639-AB9B-2DA42A00B771}"/>
                </a:ext>
              </a:extLst>
            </p:cNvPr>
            <p:cNvGrpSpPr/>
            <p:nvPr/>
          </p:nvGrpSpPr>
          <p:grpSpPr>
            <a:xfrm>
              <a:off x="6529289" y="5204629"/>
              <a:ext cx="5007128" cy="591023"/>
              <a:chOff x="1490103" y="3119246"/>
              <a:chExt cx="9339807" cy="1102437"/>
            </a:xfrm>
          </p:grpSpPr>
          <p:sp>
            <p:nvSpPr>
              <p:cNvPr id="39" name="Arrow: Pentagon 113">
                <a:extLst>
                  <a:ext uri="{FF2B5EF4-FFF2-40B4-BE49-F238E27FC236}">
                    <a16:creationId xmlns:a16="http://schemas.microsoft.com/office/drawing/2014/main" id="{BEE47C20-D78F-41BF-9C81-9B0FC1FD3BD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1BE04BAA-05CE-45BD-B209-3DC58BCCD9AD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6022EC3C-7842-4DA8-8B73-C1DEF16B5379}"/>
                  </a:ext>
                </a:extLst>
              </p:cNvPr>
              <p:cNvSpPr/>
              <p:nvPr/>
            </p:nvSpPr>
            <p:spPr>
              <a:xfrm>
                <a:off x="3587520" y="3119246"/>
                <a:ext cx="5841354" cy="1083642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Green Hydrogen Costs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defRPr/>
                </a:pPr>
                <a:r>
                  <a:rPr lang="en-CA" altLang="zh-CN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Fall by up to 64%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grpSp>
            <p:nvGrpSpPr>
              <p:cNvPr id="42" name="组合 6">
                <a:extLst>
                  <a:ext uri="{FF2B5EF4-FFF2-40B4-BE49-F238E27FC236}">
                    <a16:creationId xmlns:a16="http://schemas.microsoft.com/office/drawing/2014/main" id="{83D621C9-F707-4892-A098-61D64EF4D5B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44" name="直接连接符 8">
                  <a:extLst>
                    <a:ext uri="{FF2B5EF4-FFF2-40B4-BE49-F238E27FC236}">
                      <a16:creationId xmlns:a16="http://schemas.microsoft.com/office/drawing/2014/main" id="{0A84FD81-8D4F-4492-AE94-37B76589066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9">
                  <a:extLst>
                    <a:ext uri="{FF2B5EF4-FFF2-40B4-BE49-F238E27FC236}">
                      <a16:creationId xmlns:a16="http://schemas.microsoft.com/office/drawing/2014/main" id="{6BE6EE86-18EF-4F30-9381-CFC1339C78D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8" name="圖形 7" descr="美元">
              <a:extLst>
                <a:ext uri="{FF2B5EF4-FFF2-40B4-BE49-F238E27FC236}">
                  <a16:creationId xmlns:a16="http://schemas.microsoft.com/office/drawing/2014/main" id="{8F5DEE92-6061-4025-87FD-2350981A4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16987" y="5266502"/>
              <a:ext cx="457199" cy="457199"/>
            </a:xfrm>
            <a:prstGeom prst="rect">
              <a:avLst/>
            </a:prstGeom>
          </p:spPr>
        </p:pic>
      </p:grpSp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17369" b="946"/>
          <a:stretch/>
        </p:blipFill>
        <p:spPr>
          <a:xfrm>
            <a:off x="6385836" y="1564965"/>
            <a:ext cx="5165364" cy="3738251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501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  <p:pic>
        <p:nvPicPr>
          <p:cNvPr id="3" name="圖片 4">
            <a:extLst>
              <a:ext uri="{FF2B5EF4-FFF2-40B4-BE49-F238E27FC236}">
                <a16:creationId xmlns:a16="http://schemas.microsoft.com/office/drawing/2014/main" id="{9242244B-4EF3-4D42-AA6A-84BB38EFE7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971" t="49527" b="16152"/>
          <a:stretch/>
        </p:blipFill>
        <p:spPr>
          <a:xfrm>
            <a:off x="7440935" y="1794506"/>
            <a:ext cx="948680" cy="1154317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46A6523-0FD5-473F-9D89-2FE932D51160}"/>
              </a:ext>
            </a:extLst>
          </p:cNvPr>
          <p:cNvSpPr txBox="1"/>
          <p:nvPr/>
        </p:nvSpPr>
        <p:spPr>
          <a:xfrm>
            <a:off x="6448518" y="5399506"/>
            <a:ext cx="5040000" cy="132343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/>
              <a:t>TSLA has focused on global expansion in China, Netherland, and Norway marke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Netherland and Norway - effective policy of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reducing air pollu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China -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world's biggest car mark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,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</TotalTime>
  <Words>1279</Words>
  <Application>Microsoft Office PowerPoint</Application>
  <PresentationFormat>寬螢幕</PresentationFormat>
  <Paragraphs>260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Microsoft YaHei</vt:lpstr>
      <vt:lpstr>Microsoft YaHei</vt:lpstr>
      <vt:lpstr>Arial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389</cp:revision>
  <dcterms:created xsi:type="dcterms:W3CDTF">2020-11-11T01:58:41Z</dcterms:created>
  <dcterms:modified xsi:type="dcterms:W3CDTF">2020-11-12T06:22:47Z</dcterms:modified>
</cp:coreProperties>
</file>